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sldIdLst>
    <p:sldId id="257" r:id="rId2"/>
  </p:sldIdLst>
  <p:sldSz cx="7556500" cy="10693400"/>
  <p:notesSz cx="6858000" cy="9144000"/>
  <p:embeddedFontLst>
    <p:embeddedFont>
      <p:font typeface="Fredoka Medium" pitchFamily="2" charset="-79"/>
      <p:regular r:id="rId3"/>
    </p:embeddedFont>
    <p:embeddedFont>
      <p:font typeface="Fredoka SemiBold" pitchFamily="2" charset="-79"/>
      <p:bold r:id="rId4"/>
    </p:embeddedFont>
    <p:embeddedFont>
      <p:font typeface="Quicksand SemiBold" pitchFamily="2" charset="0"/>
      <p:bold r:id="rId5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D8DC"/>
    <a:srgbClr val="FEFCF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991" autoAdjust="0"/>
    <p:restoredTop sz="94622" autoAdjust="0"/>
  </p:normalViewPr>
  <p:slideViewPr>
    <p:cSldViewPr>
      <p:cViewPr>
        <p:scale>
          <a:sx n="150" d="100"/>
          <a:sy n="150" d="100"/>
        </p:scale>
        <p:origin x="594" y="-22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font" Target="fonts/font1.fntdata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font" Target="fonts/font3.fntdata"/><Relationship Id="rId4" Type="http://schemas.openxmlformats.org/officeDocument/2006/relationships/font" Target="fonts/font2.fntdata"/><Relationship Id="rId9" Type="http://schemas.openxmlformats.org/officeDocument/2006/relationships/tableStyles" Target="tableStyle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21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21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21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21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21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21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21/20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21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21/20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21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21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6/21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image" Target="../media/image1.png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10" Type="http://schemas.openxmlformats.org/officeDocument/2006/relationships/image" Target="../media/image8.svg"/><Relationship Id="rId4" Type="http://schemas.openxmlformats.org/officeDocument/2006/relationships/image" Target="../media/image2.svg"/><Relationship Id="rId9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EF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8" name="Baby shower potluck #1">
            <a:extLst>
              <a:ext uri="{FF2B5EF4-FFF2-40B4-BE49-F238E27FC236}">
                <a16:creationId xmlns:a16="http://schemas.microsoft.com/office/drawing/2014/main" id="{BEE6DC78-8BA5-17C3-72F9-80013D968757}"/>
              </a:ext>
            </a:extLst>
          </p:cNvPr>
          <p:cNvGrpSpPr/>
          <p:nvPr/>
        </p:nvGrpSpPr>
        <p:grpSpPr>
          <a:xfrm>
            <a:off x="-560143" y="505196"/>
            <a:ext cx="8680286" cy="10293342"/>
            <a:chOff x="-560143" y="505196"/>
            <a:chExt cx="8680286" cy="10293342"/>
          </a:xfrm>
        </p:grpSpPr>
        <p:grpSp>
          <p:nvGrpSpPr>
            <p:cNvPr id="96" name="Group 95">
              <a:extLst>
                <a:ext uri="{FF2B5EF4-FFF2-40B4-BE49-F238E27FC236}">
                  <a16:creationId xmlns:a16="http://schemas.microsoft.com/office/drawing/2014/main" id="{32117736-4189-7132-9758-85442D0F9DD1}"/>
                </a:ext>
              </a:extLst>
            </p:cNvPr>
            <p:cNvGrpSpPr/>
            <p:nvPr/>
          </p:nvGrpSpPr>
          <p:grpSpPr>
            <a:xfrm>
              <a:off x="-560143" y="4914369"/>
              <a:ext cx="8680286" cy="5884169"/>
              <a:chOff x="-560143" y="4914369"/>
              <a:chExt cx="8680286" cy="5884169"/>
            </a:xfrm>
          </p:grpSpPr>
          <p:sp>
            <p:nvSpPr>
              <p:cNvPr id="93" name="Freeform: Shape 92">
                <a:extLst>
                  <a:ext uri="{FF2B5EF4-FFF2-40B4-BE49-F238E27FC236}">
                    <a16:creationId xmlns:a16="http://schemas.microsoft.com/office/drawing/2014/main" id="{AE6A3EB9-5EE2-AD99-EAAC-A195F80E4580}"/>
                  </a:ext>
                </a:extLst>
              </p:cNvPr>
              <p:cNvSpPr/>
              <p:nvPr/>
            </p:nvSpPr>
            <p:spPr>
              <a:xfrm rot="-637214">
                <a:off x="-560143" y="4915845"/>
                <a:ext cx="2274678" cy="5882693"/>
              </a:xfrm>
              <a:custGeom>
                <a:avLst/>
                <a:gdLst>
                  <a:gd name="connsiteX0" fmla="*/ 2274678 w 2274678"/>
                  <a:gd name="connsiteY0" fmla="*/ 0 h 5882693"/>
                  <a:gd name="connsiteX1" fmla="*/ 2274678 w 2274678"/>
                  <a:gd name="connsiteY1" fmla="*/ 5882693 h 5882693"/>
                  <a:gd name="connsiteX2" fmla="*/ 817275 w 2274678"/>
                  <a:gd name="connsiteY2" fmla="*/ 5882693 h 5882693"/>
                  <a:gd name="connsiteX3" fmla="*/ 838237 w 2274678"/>
                  <a:gd name="connsiteY3" fmla="*/ 5770901 h 5882693"/>
                  <a:gd name="connsiteX4" fmla="*/ 47321 w 2274678"/>
                  <a:gd name="connsiteY4" fmla="*/ 5622596 h 5882693"/>
                  <a:gd name="connsiteX5" fmla="*/ 7531 w 2274678"/>
                  <a:gd name="connsiteY5" fmla="*/ 5834798 h 5882693"/>
                  <a:gd name="connsiteX6" fmla="*/ 262959 w 2274678"/>
                  <a:gd name="connsiteY6" fmla="*/ 5882693 h 5882693"/>
                  <a:gd name="connsiteX7" fmla="*/ 0 w 2274678"/>
                  <a:gd name="connsiteY7" fmla="*/ 5882693 h 5882693"/>
                  <a:gd name="connsiteX8" fmla="*/ 0 w 2274678"/>
                  <a:gd name="connsiteY8" fmla="*/ 3430016 h 5882693"/>
                  <a:gd name="connsiteX9" fmla="*/ 443787 w 2274678"/>
                  <a:gd name="connsiteY9" fmla="*/ 3513231 h 5882693"/>
                  <a:gd name="connsiteX10" fmla="*/ 907224 w 2274678"/>
                  <a:gd name="connsiteY10" fmla="*/ 1041705 h 5882693"/>
                  <a:gd name="connsiteX11" fmla="*/ 201059 w 2274678"/>
                  <a:gd name="connsiteY11" fmla="*/ 909292 h 5882693"/>
                  <a:gd name="connsiteX12" fmla="*/ 0 w 2274678"/>
                  <a:gd name="connsiteY12" fmla="*/ 1981549 h 5882693"/>
                  <a:gd name="connsiteX13" fmla="*/ 0 w 2274678"/>
                  <a:gd name="connsiteY13" fmla="*/ 0 h 58826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274678" h="5882693">
                    <a:moveTo>
                      <a:pt x="2274678" y="0"/>
                    </a:moveTo>
                    <a:lnTo>
                      <a:pt x="2274678" y="5882693"/>
                    </a:lnTo>
                    <a:lnTo>
                      <a:pt x="817275" y="5882693"/>
                    </a:lnTo>
                    <a:lnTo>
                      <a:pt x="838237" y="5770901"/>
                    </a:lnTo>
                    <a:lnTo>
                      <a:pt x="47321" y="5622596"/>
                    </a:lnTo>
                    <a:lnTo>
                      <a:pt x="7531" y="5834798"/>
                    </a:lnTo>
                    <a:lnTo>
                      <a:pt x="262959" y="5882693"/>
                    </a:lnTo>
                    <a:lnTo>
                      <a:pt x="0" y="5882693"/>
                    </a:lnTo>
                    <a:lnTo>
                      <a:pt x="0" y="3430016"/>
                    </a:lnTo>
                    <a:lnTo>
                      <a:pt x="443787" y="3513231"/>
                    </a:lnTo>
                    <a:lnTo>
                      <a:pt x="907224" y="1041705"/>
                    </a:lnTo>
                    <a:lnTo>
                      <a:pt x="201059" y="909292"/>
                    </a:lnTo>
                    <a:lnTo>
                      <a:pt x="0" y="1981549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3">
                  <a:alphaModFix amt="52000"/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 r="-286519"/>
                </a:stretch>
              </a:blipFill>
            </p:spPr>
            <p:txBody>
              <a:bodyPr wrap="square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95" name="Freeform: Shape 94">
                <a:extLst>
                  <a:ext uri="{FF2B5EF4-FFF2-40B4-BE49-F238E27FC236}">
                    <a16:creationId xmlns:a16="http://schemas.microsoft.com/office/drawing/2014/main" id="{0FE17A61-4F2B-C6E3-79BE-801A074D1C53}"/>
                  </a:ext>
                </a:extLst>
              </p:cNvPr>
              <p:cNvSpPr/>
              <p:nvPr/>
            </p:nvSpPr>
            <p:spPr>
              <a:xfrm rot="646080" flipH="1">
                <a:off x="5845465" y="4914369"/>
                <a:ext cx="2274678" cy="5882694"/>
              </a:xfrm>
              <a:custGeom>
                <a:avLst/>
                <a:gdLst>
                  <a:gd name="connsiteX0" fmla="*/ 2274678 w 2274678"/>
                  <a:gd name="connsiteY0" fmla="*/ 0 h 5882694"/>
                  <a:gd name="connsiteX1" fmla="*/ 0 w 2274678"/>
                  <a:gd name="connsiteY1" fmla="*/ 0 h 5882694"/>
                  <a:gd name="connsiteX2" fmla="*/ 0 w 2274678"/>
                  <a:gd name="connsiteY2" fmla="*/ 2418233 h 5882694"/>
                  <a:gd name="connsiteX3" fmla="*/ 284323 w 2274678"/>
                  <a:gd name="connsiteY3" fmla="*/ 923224 h 5882694"/>
                  <a:gd name="connsiteX4" fmla="*/ 914380 w 2274678"/>
                  <a:gd name="connsiteY4" fmla="*/ 1043049 h 5882694"/>
                  <a:gd name="connsiteX5" fmla="*/ 444571 w 2274678"/>
                  <a:gd name="connsiteY5" fmla="*/ 3513371 h 5882694"/>
                  <a:gd name="connsiteX6" fmla="*/ 0 w 2274678"/>
                  <a:gd name="connsiteY6" fmla="*/ 3428822 h 5882694"/>
                  <a:gd name="connsiteX7" fmla="*/ 0 w 2274678"/>
                  <a:gd name="connsiteY7" fmla="*/ 5882694 h 5882694"/>
                  <a:gd name="connsiteX8" fmla="*/ 427046 w 2274678"/>
                  <a:gd name="connsiteY8" fmla="*/ 5882694 h 5882694"/>
                  <a:gd name="connsiteX9" fmla="*/ 461531 w 2274678"/>
                  <a:gd name="connsiteY9" fmla="*/ 5701367 h 5882694"/>
                  <a:gd name="connsiteX10" fmla="*/ 910681 w 2274678"/>
                  <a:gd name="connsiteY10" fmla="*/ 5786787 h 5882694"/>
                  <a:gd name="connsiteX11" fmla="*/ 892441 w 2274678"/>
                  <a:gd name="connsiteY11" fmla="*/ 5882694 h 5882694"/>
                  <a:gd name="connsiteX12" fmla="*/ 2274678 w 2274678"/>
                  <a:gd name="connsiteY12" fmla="*/ 5882694 h 58826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274678" h="5882694">
                    <a:moveTo>
                      <a:pt x="2274678" y="0"/>
                    </a:moveTo>
                    <a:lnTo>
                      <a:pt x="0" y="0"/>
                    </a:lnTo>
                    <a:lnTo>
                      <a:pt x="0" y="2418233"/>
                    </a:lnTo>
                    <a:lnTo>
                      <a:pt x="284323" y="923224"/>
                    </a:lnTo>
                    <a:lnTo>
                      <a:pt x="914380" y="1043049"/>
                    </a:lnTo>
                    <a:lnTo>
                      <a:pt x="444571" y="3513371"/>
                    </a:lnTo>
                    <a:lnTo>
                      <a:pt x="0" y="3428822"/>
                    </a:lnTo>
                    <a:lnTo>
                      <a:pt x="0" y="5882694"/>
                    </a:lnTo>
                    <a:lnTo>
                      <a:pt x="427046" y="5882694"/>
                    </a:lnTo>
                    <a:lnTo>
                      <a:pt x="461531" y="5701367"/>
                    </a:lnTo>
                    <a:lnTo>
                      <a:pt x="910681" y="5786787"/>
                    </a:lnTo>
                    <a:lnTo>
                      <a:pt x="892441" y="5882694"/>
                    </a:lnTo>
                    <a:lnTo>
                      <a:pt x="2274678" y="5882694"/>
                    </a:lnTo>
                    <a:close/>
                  </a:path>
                </a:pathLst>
              </a:custGeom>
              <a:blipFill>
                <a:blip r:embed="rId3">
                  <a:alphaModFix amt="52000"/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 r="-286519"/>
                </a:stretch>
              </a:blipFill>
              <a:ln cap="sq">
                <a:noFill/>
                <a:prstDash val="solid"/>
                <a:miter/>
              </a:ln>
            </p:spPr>
            <p:txBody>
              <a:bodyPr wrap="square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87" name="Group 86">
              <a:extLst>
                <a:ext uri="{FF2B5EF4-FFF2-40B4-BE49-F238E27FC236}">
                  <a16:creationId xmlns:a16="http://schemas.microsoft.com/office/drawing/2014/main" id="{000210AE-0639-014D-633B-603BFA4BC638}"/>
                </a:ext>
              </a:extLst>
            </p:cNvPr>
            <p:cNvGrpSpPr/>
            <p:nvPr/>
          </p:nvGrpSpPr>
          <p:grpSpPr>
            <a:xfrm>
              <a:off x="503446" y="2616549"/>
              <a:ext cx="6549608" cy="7570255"/>
              <a:chOff x="503446" y="2616549"/>
              <a:chExt cx="6549608" cy="7570255"/>
            </a:xfrm>
          </p:grpSpPr>
          <p:sp>
            <p:nvSpPr>
              <p:cNvPr id="8" name="Freeform 8"/>
              <p:cNvSpPr/>
              <p:nvPr/>
            </p:nvSpPr>
            <p:spPr>
              <a:xfrm>
                <a:off x="503446" y="2616549"/>
                <a:ext cx="6549608" cy="7570255"/>
              </a:xfrm>
              <a:prstGeom prst="roundRect">
                <a:avLst>
                  <a:gd name="adj" fmla="val 1349"/>
                </a:avLst>
              </a:prstGeom>
              <a:solidFill>
                <a:srgbClr val="FFFFFF"/>
              </a:solidFill>
              <a:ln w="19050" cap="sq">
                <a:solidFill>
                  <a:srgbClr val="FFD8DC"/>
                </a:solidFill>
                <a:prstDash val="solid"/>
                <a:miter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" name="Freeform 16"/>
              <p:cNvSpPr/>
              <p:nvPr/>
            </p:nvSpPr>
            <p:spPr>
              <a:xfrm>
                <a:off x="804700" y="2893010"/>
                <a:ext cx="1809440" cy="401440"/>
              </a:xfrm>
              <a:prstGeom prst="roundRect">
                <a:avLst/>
              </a:prstGeom>
              <a:solidFill>
                <a:srgbClr val="FFEFF3"/>
              </a:solidFill>
              <a:ln cap="sq">
                <a:noFill/>
                <a:prstDash val="solid"/>
                <a:miter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" name="Freeform 20"/>
              <p:cNvSpPr/>
              <p:nvPr/>
            </p:nvSpPr>
            <p:spPr>
              <a:xfrm>
                <a:off x="2875280" y="2893010"/>
                <a:ext cx="1809440" cy="401440"/>
              </a:xfrm>
              <a:prstGeom prst="roundRect">
                <a:avLst/>
              </a:prstGeom>
              <a:solidFill>
                <a:srgbClr val="FFEFF3"/>
              </a:solidFill>
              <a:ln cap="sq">
                <a:noFill/>
                <a:prstDash val="solid"/>
                <a:miter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4" name="Freeform 24"/>
              <p:cNvSpPr/>
              <p:nvPr/>
            </p:nvSpPr>
            <p:spPr>
              <a:xfrm>
                <a:off x="4945860" y="2893010"/>
                <a:ext cx="1809440" cy="401440"/>
              </a:xfrm>
              <a:prstGeom prst="roundRect">
                <a:avLst/>
              </a:prstGeom>
              <a:solidFill>
                <a:srgbClr val="FFEFF3"/>
              </a:solidFill>
              <a:ln cap="sq">
                <a:noFill/>
                <a:prstDash val="solid"/>
                <a:miter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" name="TextBox 18"/>
              <p:cNvSpPr txBox="1"/>
              <p:nvPr/>
            </p:nvSpPr>
            <p:spPr>
              <a:xfrm>
                <a:off x="1126617" y="3016850"/>
                <a:ext cx="1165606" cy="153760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ctr"/>
                <a:r>
                  <a:rPr lang="en-US" sz="999" spc="65" dirty="0">
                    <a:solidFill>
                      <a:srgbClr val="FA5F86"/>
                    </a:solidFill>
                    <a:latin typeface="Fredoka Medium"/>
                  </a:rPr>
                  <a:t>NAME</a:t>
                </a:r>
              </a:p>
            </p:txBody>
          </p:sp>
          <p:sp>
            <p:nvSpPr>
              <p:cNvPr id="22" name="TextBox 22"/>
              <p:cNvSpPr txBox="1"/>
              <p:nvPr/>
            </p:nvSpPr>
            <p:spPr>
              <a:xfrm>
                <a:off x="3197197" y="3016850"/>
                <a:ext cx="1165606" cy="153760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ctr">
                  <a:spcBef>
                    <a:spcPct val="0"/>
                  </a:spcBef>
                </a:pPr>
                <a:r>
                  <a:rPr lang="en-US" sz="999" spc="65" dirty="0">
                    <a:solidFill>
                      <a:srgbClr val="FA5F86"/>
                    </a:solidFill>
                    <a:latin typeface="Fredoka Medium"/>
                  </a:rPr>
                  <a:t>PHONE</a:t>
                </a:r>
              </a:p>
            </p:txBody>
          </p:sp>
          <p:sp>
            <p:nvSpPr>
              <p:cNvPr id="26" name="TextBox 26"/>
              <p:cNvSpPr txBox="1"/>
              <p:nvPr/>
            </p:nvSpPr>
            <p:spPr>
              <a:xfrm>
                <a:off x="5267777" y="3016850"/>
                <a:ext cx="1165606" cy="153760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ctr">
                  <a:spcBef>
                    <a:spcPct val="0"/>
                  </a:spcBef>
                </a:pPr>
                <a:r>
                  <a:rPr lang="en-US" sz="999" spc="65" dirty="0">
                    <a:solidFill>
                      <a:srgbClr val="FA5F86"/>
                    </a:solidFill>
                    <a:latin typeface="Fredoka Medium"/>
                  </a:rPr>
                  <a:t>WILL BRING</a:t>
                </a:r>
              </a:p>
            </p:txBody>
          </p:sp>
          <p:sp>
            <p:nvSpPr>
              <p:cNvPr id="28" name="AutoShape 28"/>
              <p:cNvSpPr/>
              <p:nvPr/>
            </p:nvSpPr>
            <p:spPr>
              <a:xfrm>
                <a:off x="804700" y="3710101"/>
                <a:ext cx="1809440" cy="0"/>
              </a:xfrm>
              <a:prstGeom prst="line">
                <a:avLst/>
              </a:prstGeom>
              <a:ln w="9525" cap="rnd">
                <a:solidFill>
                  <a:srgbClr val="FFD8DC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29" name="AutoShape 29"/>
              <p:cNvSpPr/>
              <p:nvPr/>
            </p:nvSpPr>
            <p:spPr>
              <a:xfrm>
                <a:off x="2875281" y="3710101"/>
                <a:ext cx="1809440" cy="0"/>
              </a:xfrm>
              <a:prstGeom prst="line">
                <a:avLst/>
              </a:prstGeom>
              <a:ln w="9525" cap="rnd">
                <a:solidFill>
                  <a:srgbClr val="FFD8DC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0" name="AutoShape 30"/>
              <p:cNvSpPr/>
              <p:nvPr/>
            </p:nvSpPr>
            <p:spPr>
              <a:xfrm>
                <a:off x="4932764" y="3710101"/>
                <a:ext cx="1809440" cy="0"/>
              </a:xfrm>
              <a:prstGeom prst="line">
                <a:avLst/>
              </a:prstGeom>
              <a:ln w="9525" cap="rnd">
                <a:solidFill>
                  <a:srgbClr val="FFD8DC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1" name="AutoShape 31"/>
              <p:cNvSpPr/>
              <p:nvPr/>
            </p:nvSpPr>
            <p:spPr>
              <a:xfrm>
                <a:off x="804700" y="4123372"/>
                <a:ext cx="1809440" cy="0"/>
              </a:xfrm>
              <a:prstGeom prst="line">
                <a:avLst/>
              </a:prstGeom>
              <a:ln w="9525" cap="rnd">
                <a:solidFill>
                  <a:srgbClr val="FFD8DC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2" name="AutoShape 32"/>
              <p:cNvSpPr/>
              <p:nvPr/>
            </p:nvSpPr>
            <p:spPr>
              <a:xfrm>
                <a:off x="2875281" y="4123372"/>
                <a:ext cx="1809440" cy="0"/>
              </a:xfrm>
              <a:prstGeom prst="line">
                <a:avLst/>
              </a:prstGeom>
              <a:ln w="9525" cap="rnd">
                <a:solidFill>
                  <a:srgbClr val="FFD8DC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3" name="AutoShape 33"/>
              <p:cNvSpPr/>
              <p:nvPr/>
            </p:nvSpPr>
            <p:spPr>
              <a:xfrm>
                <a:off x="4932764" y="4123372"/>
                <a:ext cx="1809440" cy="0"/>
              </a:xfrm>
              <a:prstGeom prst="line">
                <a:avLst/>
              </a:prstGeom>
              <a:ln w="9525" cap="rnd">
                <a:solidFill>
                  <a:srgbClr val="FFD8DC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" name="AutoShape 34"/>
              <p:cNvSpPr/>
              <p:nvPr/>
            </p:nvSpPr>
            <p:spPr>
              <a:xfrm>
                <a:off x="804700" y="4536644"/>
                <a:ext cx="1809440" cy="0"/>
              </a:xfrm>
              <a:prstGeom prst="line">
                <a:avLst/>
              </a:prstGeom>
              <a:ln w="9525" cap="rnd">
                <a:solidFill>
                  <a:srgbClr val="FFD8DC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5" name="AutoShape 35"/>
              <p:cNvSpPr/>
              <p:nvPr/>
            </p:nvSpPr>
            <p:spPr>
              <a:xfrm>
                <a:off x="2875281" y="4536644"/>
                <a:ext cx="1809440" cy="0"/>
              </a:xfrm>
              <a:prstGeom prst="line">
                <a:avLst/>
              </a:prstGeom>
              <a:ln w="9525" cap="rnd">
                <a:solidFill>
                  <a:srgbClr val="FFD8DC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6" name="AutoShape 36"/>
              <p:cNvSpPr/>
              <p:nvPr/>
            </p:nvSpPr>
            <p:spPr>
              <a:xfrm>
                <a:off x="4932764" y="4536644"/>
                <a:ext cx="1809440" cy="0"/>
              </a:xfrm>
              <a:prstGeom prst="line">
                <a:avLst/>
              </a:prstGeom>
              <a:ln w="9525" cap="rnd">
                <a:solidFill>
                  <a:srgbClr val="FFD8DC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" name="AutoShape 37"/>
              <p:cNvSpPr/>
              <p:nvPr/>
            </p:nvSpPr>
            <p:spPr>
              <a:xfrm>
                <a:off x="804700" y="4949916"/>
                <a:ext cx="1809440" cy="0"/>
              </a:xfrm>
              <a:prstGeom prst="line">
                <a:avLst/>
              </a:prstGeom>
              <a:ln w="9525" cap="rnd">
                <a:solidFill>
                  <a:srgbClr val="FFD8DC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" name="AutoShape 38"/>
              <p:cNvSpPr/>
              <p:nvPr/>
            </p:nvSpPr>
            <p:spPr>
              <a:xfrm>
                <a:off x="2875281" y="4949916"/>
                <a:ext cx="1809440" cy="0"/>
              </a:xfrm>
              <a:prstGeom prst="line">
                <a:avLst/>
              </a:prstGeom>
              <a:ln w="9525" cap="rnd">
                <a:solidFill>
                  <a:srgbClr val="FFD8DC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9" name="AutoShape 39"/>
              <p:cNvSpPr/>
              <p:nvPr/>
            </p:nvSpPr>
            <p:spPr>
              <a:xfrm>
                <a:off x="4932764" y="4949916"/>
                <a:ext cx="1809440" cy="0"/>
              </a:xfrm>
              <a:prstGeom prst="line">
                <a:avLst/>
              </a:prstGeom>
              <a:ln w="9525" cap="rnd">
                <a:solidFill>
                  <a:srgbClr val="FFD8DC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0" name="AutoShape 40"/>
              <p:cNvSpPr/>
              <p:nvPr/>
            </p:nvSpPr>
            <p:spPr>
              <a:xfrm>
                <a:off x="804700" y="5363187"/>
                <a:ext cx="1809440" cy="0"/>
              </a:xfrm>
              <a:prstGeom prst="line">
                <a:avLst/>
              </a:prstGeom>
              <a:ln w="9525" cap="rnd">
                <a:solidFill>
                  <a:srgbClr val="FFD8DC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1" name="AutoShape 41"/>
              <p:cNvSpPr/>
              <p:nvPr/>
            </p:nvSpPr>
            <p:spPr>
              <a:xfrm>
                <a:off x="2875281" y="5363187"/>
                <a:ext cx="1809440" cy="0"/>
              </a:xfrm>
              <a:prstGeom prst="line">
                <a:avLst/>
              </a:prstGeom>
              <a:ln w="9525" cap="rnd">
                <a:solidFill>
                  <a:srgbClr val="FFD8DC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2" name="AutoShape 42"/>
              <p:cNvSpPr/>
              <p:nvPr/>
            </p:nvSpPr>
            <p:spPr>
              <a:xfrm>
                <a:off x="4932764" y="5363187"/>
                <a:ext cx="1809440" cy="0"/>
              </a:xfrm>
              <a:prstGeom prst="line">
                <a:avLst/>
              </a:prstGeom>
              <a:ln w="9525" cap="rnd">
                <a:solidFill>
                  <a:srgbClr val="FFD8DC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3" name="AutoShape 43"/>
              <p:cNvSpPr/>
              <p:nvPr/>
            </p:nvSpPr>
            <p:spPr>
              <a:xfrm>
                <a:off x="804700" y="5776459"/>
                <a:ext cx="1809440" cy="0"/>
              </a:xfrm>
              <a:prstGeom prst="line">
                <a:avLst/>
              </a:prstGeom>
              <a:ln w="9525" cap="rnd">
                <a:solidFill>
                  <a:srgbClr val="FFD8DC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4" name="AutoShape 44"/>
              <p:cNvSpPr/>
              <p:nvPr/>
            </p:nvSpPr>
            <p:spPr>
              <a:xfrm>
                <a:off x="2875281" y="5776459"/>
                <a:ext cx="1809440" cy="0"/>
              </a:xfrm>
              <a:prstGeom prst="line">
                <a:avLst/>
              </a:prstGeom>
              <a:ln w="9525" cap="rnd">
                <a:solidFill>
                  <a:srgbClr val="FFD8DC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5" name="AutoShape 45"/>
              <p:cNvSpPr/>
              <p:nvPr/>
            </p:nvSpPr>
            <p:spPr>
              <a:xfrm>
                <a:off x="4932764" y="5776459"/>
                <a:ext cx="1809440" cy="0"/>
              </a:xfrm>
              <a:prstGeom prst="line">
                <a:avLst/>
              </a:prstGeom>
              <a:ln w="9525" cap="rnd">
                <a:solidFill>
                  <a:srgbClr val="FFD8DC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6" name="AutoShape 46"/>
              <p:cNvSpPr/>
              <p:nvPr/>
            </p:nvSpPr>
            <p:spPr>
              <a:xfrm>
                <a:off x="804700" y="6189730"/>
                <a:ext cx="1809440" cy="0"/>
              </a:xfrm>
              <a:prstGeom prst="line">
                <a:avLst/>
              </a:prstGeom>
              <a:ln w="9525" cap="rnd">
                <a:solidFill>
                  <a:srgbClr val="FFD8DC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7" name="AutoShape 47"/>
              <p:cNvSpPr/>
              <p:nvPr/>
            </p:nvSpPr>
            <p:spPr>
              <a:xfrm>
                <a:off x="2875281" y="6189730"/>
                <a:ext cx="1809440" cy="0"/>
              </a:xfrm>
              <a:prstGeom prst="line">
                <a:avLst/>
              </a:prstGeom>
              <a:ln w="9525" cap="rnd">
                <a:solidFill>
                  <a:srgbClr val="FFD8DC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8" name="AutoShape 48"/>
              <p:cNvSpPr/>
              <p:nvPr/>
            </p:nvSpPr>
            <p:spPr>
              <a:xfrm>
                <a:off x="4932764" y="6189730"/>
                <a:ext cx="1809440" cy="0"/>
              </a:xfrm>
              <a:prstGeom prst="line">
                <a:avLst/>
              </a:prstGeom>
              <a:ln w="9525" cap="rnd">
                <a:solidFill>
                  <a:srgbClr val="FFD8DC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9" name="AutoShape 49"/>
              <p:cNvSpPr/>
              <p:nvPr/>
            </p:nvSpPr>
            <p:spPr>
              <a:xfrm>
                <a:off x="804700" y="6603002"/>
                <a:ext cx="1809440" cy="0"/>
              </a:xfrm>
              <a:prstGeom prst="line">
                <a:avLst/>
              </a:prstGeom>
              <a:ln w="9525" cap="rnd">
                <a:solidFill>
                  <a:srgbClr val="FFD8DC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0" name="AutoShape 50"/>
              <p:cNvSpPr/>
              <p:nvPr/>
            </p:nvSpPr>
            <p:spPr>
              <a:xfrm>
                <a:off x="2875281" y="6603002"/>
                <a:ext cx="1809440" cy="0"/>
              </a:xfrm>
              <a:prstGeom prst="line">
                <a:avLst/>
              </a:prstGeom>
              <a:ln w="9525" cap="rnd">
                <a:solidFill>
                  <a:srgbClr val="FFD8DC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1" name="AutoShape 51"/>
              <p:cNvSpPr/>
              <p:nvPr/>
            </p:nvSpPr>
            <p:spPr>
              <a:xfrm>
                <a:off x="4932764" y="6603002"/>
                <a:ext cx="1809440" cy="0"/>
              </a:xfrm>
              <a:prstGeom prst="line">
                <a:avLst/>
              </a:prstGeom>
              <a:ln w="9525" cap="rnd">
                <a:solidFill>
                  <a:srgbClr val="FFD8DC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2" name="AutoShape 52"/>
              <p:cNvSpPr/>
              <p:nvPr/>
            </p:nvSpPr>
            <p:spPr>
              <a:xfrm>
                <a:off x="804700" y="7016274"/>
                <a:ext cx="1809440" cy="0"/>
              </a:xfrm>
              <a:prstGeom prst="line">
                <a:avLst/>
              </a:prstGeom>
              <a:ln w="9525" cap="rnd">
                <a:solidFill>
                  <a:srgbClr val="FFD8DC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3" name="AutoShape 53"/>
              <p:cNvSpPr/>
              <p:nvPr/>
            </p:nvSpPr>
            <p:spPr>
              <a:xfrm>
                <a:off x="2875281" y="7016274"/>
                <a:ext cx="1809440" cy="0"/>
              </a:xfrm>
              <a:prstGeom prst="line">
                <a:avLst/>
              </a:prstGeom>
              <a:ln w="9525" cap="rnd">
                <a:solidFill>
                  <a:srgbClr val="FFD8DC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4" name="AutoShape 54"/>
              <p:cNvSpPr/>
              <p:nvPr/>
            </p:nvSpPr>
            <p:spPr>
              <a:xfrm>
                <a:off x="4932764" y="7016274"/>
                <a:ext cx="1809440" cy="0"/>
              </a:xfrm>
              <a:prstGeom prst="line">
                <a:avLst/>
              </a:prstGeom>
              <a:ln w="9525" cap="rnd">
                <a:solidFill>
                  <a:srgbClr val="FFD8DC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5" name="AutoShape 55"/>
              <p:cNvSpPr/>
              <p:nvPr/>
            </p:nvSpPr>
            <p:spPr>
              <a:xfrm>
                <a:off x="804700" y="7429546"/>
                <a:ext cx="1809440" cy="0"/>
              </a:xfrm>
              <a:prstGeom prst="line">
                <a:avLst/>
              </a:prstGeom>
              <a:ln w="9525" cap="rnd">
                <a:solidFill>
                  <a:srgbClr val="FFD8DC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6" name="AutoShape 56"/>
              <p:cNvSpPr/>
              <p:nvPr/>
            </p:nvSpPr>
            <p:spPr>
              <a:xfrm>
                <a:off x="2875281" y="7429546"/>
                <a:ext cx="1809440" cy="0"/>
              </a:xfrm>
              <a:prstGeom prst="line">
                <a:avLst/>
              </a:prstGeom>
              <a:ln w="9525" cap="rnd">
                <a:solidFill>
                  <a:srgbClr val="FFD8DC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7" name="AutoShape 57"/>
              <p:cNvSpPr/>
              <p:nvPr/>
            </p:nvSpPr>
            <p:spPr>
              <a:xfrm>
                <a:off x="4932764" y="7429546"/>
                <a:ext cx="1809440" cy="0"/>
              </a:xfrm>
              <a:prstGeom prst="line">
                <a:avLst/>
              </a:prstGeom>
              <a:ln w="9525" cap="rnd">
                <a:solidFill>
                  <a:srgbClr val="FFD8DC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8" name="AutoShape 58"/>
              <p:cNvSpPr/>
              <p:nvPr/>
            </p:nvSpPr>
            <p:spPr>
              <a:xfrm>
                <a:off x="804700" y="7842817"/>
                <a:ext cx="1809440" cy="0"/>
              </a:xfrm>
              <a:prstGeom prst="line">
                <a:avLst/>
              </a:prstGeom>
              <a:ln w="9525" cap="rnd">
                <a:solidFill>
                  <a:srgbClr val="FFD8DC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9" name="AutoShape 59"/>
              <p:cNvSpPr/>
              <p:nvPr/>
            </p:nvSpPr>
            <p:spPr>
              <a:xfrm>
                <a:off x="2875281" y="7842817"/>
                <a:ext cx="1809440" cy="0"/>
              </a:xfrm>
              <a:prstGeom prst="line">
                <a:avLst/>
              </a:prstGeom>
              <a:ln w="9525" cap="rnd">
                <a:solidFill>
                  <a:srgbClr val="FFD8DC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60" name="AutoShape 60"/>
              <p:cNvSpPr/>
              <p:nvPr/>
            </p:nvSpPr>
            <p:spPr>
              <a:xfrm>
                <a:off x="4932764" y="7842817"/>
                <a:ext cx="1809440" cy="0"/>
              </a:xfrm>
              <a:prstGeom prst="line">
                <a:avLst/>
              </a:prstGeom>
              <a:ln w="9525" cap="rnd">
                <a:solidFill>
                  <a:srgbClr val="FFD8DC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61" name="AutoShape 61"/>
              <p:cNvSpPr/>
              <p:nvPr/>
            </p:nvSpPr>
            <p:spPr>
              <a:xfrm>
                <a:off x="804700" y="8256088"/>
                <a:ext cx="1809440" cy="0"/>
              </a:xfrm>
              <a:prstGeom prst="line">
                <a:avLst/>
              </a:prstGeom>
              <a:ln w="9525" cap="rnd">
                <a:solidFill>
                  <a:srgbClr val="FFD8DC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62" name="AutoShape 62"/>
              <p:cNvSpPr/>
              <p:nvPr/>
            </p:nvSpPr>
            <p:spPr>
              <a:xfrm>
                <a:off x="2875281" y="8256088"/>
                <a:ext cx="1809440" cy="0"/>
              </a:xfrm>
              <a:prstGeom prst="line">
                <a:avLst/>
              </a:prstGeom>
              <a:ln w="9525" cap="rnd">
                <a:solidFill>
                  <a:srgbClr val="FFD8DC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63" name="AutoShape 63"/>
              <p:cNvSpPr/>
              <p:nvPr/>
            </p:nvSpPr>
            <p:spPr>
              <a:xfrm>
                <a:off x="4932764" y="8256088"/>
                <a:ext cx="1809440" cy="0"/>
              </a:xfrm>
              <a:prstGeom prst="line">
                <a:avLst/>
              </a:prstGeom>
              <a:ln w="9525" cap="rnd">
                <a:solidFill>
                  <a:srgbClr val="FFD8DC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64" name="AutoShape 64"/>
              <p:cNvSpPr/>
              <p:nvPr/>
            </p:nvSpPr>
            <p:spPr>
              <a:xfrm>
                <a:off x="804700" y="8669360"/>
                <a:ext cx="1809440" cy="0"/>
              </a:xfrm>
              <a:prstGeom prst="line">
                <a:avLst/>
              </a:prstGeom>
              <a:ln w="9525" cap="rnd">
                <a:solidFill>
                  <a:srgbClr val="FFD8DC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65" name="AutoShape 65"/>
              <p:cNvSpPr/>
              <p:nvPr/>
            </p:nvSpPr>
            <p:spPr>
              <a:xfrm>
                <a:off x="2875281" y="8669360"/>
                <a:ext cx="1809440" cy="0"/>
              </a:xfrm>
              <a:prstGeom prst="line">
                <a:avLst/>
              </a:prstGeom>
              <a:ln w="9525" cap="rnd">
                <a:solidFill>
                  <a:srgbClr val="FFD8DC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66" name="AutoShape 66"/>
              <p:cNvSpPr/>
              <p:nvPr/>
            </p:nvSpPr>
            <p:spPr>
              <a:xfrm>
                <a:off x="4932764" y="8669360"/>
                <a:ext cx="1809440" cy="0"/>
              </a:xfrm>
              <a:prstGeom prst="line">
                <a:avLst/>
              </a:prstGeom>
              <a:ln w="9525" cap="rnd">
                <a:solidFill>
                  <a:srgbClr val="FFD8DC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67" name="AutoShape 67"/>
              <p:cNvSpPr/>
              <p:nvPr/>
            </p:nvSpPr>
            <p:spPr>
              <a:xfrm>
                <a:off x="804700" y="9082632"/>
                <a:ext cx="1809440" cy="0"/>
              </a:xfrm>
              <a:prstGeom prst="line">
                <a:avLst/>
              </a:prstGeom>
              <a:ln w="9525" cap="rnd">
                <a:solidFill>
                  <a:srgbClr val="FFD8DC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68" name="AutoShape 68"/>
              <p:cNvSpPr/>
              <p:nvPr/>
            </p:nvSpPr>
            <p:spPr>
              <a:xfrm>
                <a:off x="2875281" y="9082632"/>
                <a:ext cx="1809440" cy="0"/>
              </a:xfrm>
              <a:prstGeom prst="line">
                <a:avLst/>
              </a:prstGeom>
              <a:ln w="9525" cap="rnd">
                <a:solidFill>
                  <a:srgbClr val="FFD8DC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69" name="AutoShape 69"/>
              <p:cNvSpPr/>
              <p:nvPr/>
            </p:nvSpPr>
            <p:spPr>
              <a:xfrm>
                <a:off x="4932764" y="9082632"/>
                <a:ext cx="1809440" cy="0"/>
              </a:xfrm>
              <a:prstGeom prst="line">
                <a:avLst/>
              </a:prstGeom>
              <a:ln w="9525" cap="rnd">
                <a:solidFill>
                  <a:srgbClr val="FFD8DC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0" name="AutoShape 70"/>
              <p:cNvSpPr/>
              <p:nvPr/>
            </p:nvSpPr>
            <p:spPr>
              <a:xfrm>
                <a:off x="804700" y="9495904"/>
                <a:ext cx="1809440" cy="0"/>
              </a:xfrm>
              <a:prstGeom prst="line">
                <a:avLst/>
              </a:prstGeom>
              <a:ln w="9525" cap="rnd">
                <a:solidFill>
                  <a:srgbClr val="FFD8DC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1" name="AutoShape 71"/>
              <p:cNvSpPr/>
              <p:nvPr/>
            </p:nvSpPr>
            <p:spPr>
              <a:xfrm>
                <a:off x="2875281" y="9495904"/>
                <a:ext cx="1809440" cy="0"/>
              </a:xfrm>
              <a:prstGeom prst="line">
                <a:avLst/>
              </a:prstGeom>
              <a:ln w="9525" cap="rnd">
                <a:solidFill>
                  <a:srgbClr val="FFD8DC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2" name="AutoShape 72"/>
              <p:cNvSpPr/>
              <p:nvPr/>
            </p:nvSpPr>
            <p:spPr>
              <a:xfrm>
                <a:off x="4932764" y="9495904"/>
                <a:ext cx="1809440" cy="0"/>
              </a:xfrm>
              <a:prstGeom prst="line">
                <a:avLst/>
              </a:prstGeom>
              <a:ln w="9525" cap="rnd">
                <a:solidFill>
                  <a:srgbClr val="FFD8DC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3" name="AutoShape 73"/>
              <p:cNvSpPr/>
              <p:nvPr/>
            </p:nvSpPr>
            <p:spPr>
              <a:xfrm>
                <a:off x="804700" y="9909175"/>
                <a:ext cx="1809440" cy="0"/>
              </a:xfrm>
              <a:prstGeom prst="line">
                <a:avLst/>
              </a:prstGeom>
              <a:ln w="9525" cap="rnd">
                <a:solidFill>
                  <a:srgbClr val="FFD8DC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4" name="AutoShape 74"/>
              <p:cNvSpPr/>
              <p:nvPr/>
            </p:nvSpPr>
            <p:spPr>
              <a:xfrm>
                <a:off x="2875281" y="9909175"/>
                <a:ext cx="1809440" cy="0"/>
              </a:xfrm>
              <a:prstGeom prst="line">
                <a:avLst/>
              </a:prstGeom>
              <a:ln w="9525" cap="rnd">
                <a:solidFill>
                  <a:srgbClr val="FFD8DC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5" name="AutoShape 75"/>
              <p:cNvSpPr/>
              <p:nvPr/>
            </p:nvSpPr>
            <p:spPr>
              <a:xfrm>
                <a:off x="4932764" y="9909175"/>
                <a:ext cx="1809440" cy="0"/>
              </a:xfrm>
              <a:prstGeom prst="line">
                <a:avLst/>
              </a:prstGeom>
              <a:ln w="9525" cap="rnd">
                <a:solidFill>
                  <a:srgbClr val="FFD8DC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86" name="Group 85">
              <a:extLst>
                <a:ext uri="{FF2B5EF4-FFF2-40B4-BE49-F238E27FC236}">
                  <a16:creationId xmlns:a16="http://schemas.microsoft.com/office/drawing/2014/main" id="{40A80162-1AFB-3B54-E487-51A149638C50}"/>
                </a:ext>
              </a:extLst>
            </p:cNvPr>
            <p:cNvGrpSpPr/>
            <p:nvPr/>
          </p:nvGrpSpPr>
          <p:grpSpPr>
            <a:xfrm>
              <a:off x="503446" y="505196"/>
              <a:ext cx="6549608" cy="1909464"/>
              <a:chOff x="503446" y="505196"/>
              <a:chExt cx="6549608" cy="1909464"/>
            </a:xfrm>
          </p:grpSpPr>
          <p:sp>
            <p:nvSpPr>
              <p:cNvPr id="3" name="Freeform 3"/>
              <p:cNvSpPr/>
              <p:nvPr/>
            </p:nvSpPr>
            <p:spPr>
              <a:xfrm>
                <a:off x="503446" y="505196"/>
                <a:ext cx="6549608" cy="1909464"/>
              </a:xfrm>
              <a:prstGeom prst="roundRect">
                <a:avLst>
                  <a:gd name="adj" fmla="val 5693"/>
                </a:avLst>
              </a:prstGeom>
              <a:solidFill>
                <a:srgbClr val="FFFFFF"/>
              </a:solidFill>
              <a:ln w="19050" cap="sq">
                <a:solidFill>
                  <a:srgbClr val="FFD8DC"/>
                </a:solidFill>
                <a:prstDash val="solid"/>
                <a:miter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" name="Freeform 11"/>
              <p:cNvSpPr/>
              <p:nvPr/>
            </p:nvSpPr>
            <p:spPr>
              <a:xfrm>
                <a:off x="5726924" y="826881"/>
                <a:ext cx="1075326" cy="1577145"/>
              </a:xfrm>
              <a:custGeom>
                <a:avLst/>
                <a:gdLst/>
                <a:ahLst/>
                <a:cxnLst/>
                <a:rect l="l" t="t" r="r" b="b"/>
                <a:pathLst>
                  <a:path w="1075326" h="1577145">
                    <a:moveTo>
                      <a:pt x="0" y="0"/>
                    </a:moveTo>
                    <a:lnTo>
                      <a:pt x="1075326" y="0"/>
                    </a:lnTo>
                    <a:lnTo>
                      <a:pt x="1075326" y="1577144"/>
                    </a:lnTo>
                    <a:lnTo>
                      <a:pt x="0" y="1577144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5"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2" name="Freeform 12"/>
              <p:cNvSpPr/>
              <p:nvPr/>
            </p:nvSpPr>
            <p:spPr>
              <a:xfrm>
                <a:off x="754250" y="829262"/>
                <a:ext cx="1121206" cy="1577145"/>
              </a:xfrm>
              <a:custGeom>
                <a:avLst/>
                <a:gdLst/>
                <a:ahLst/>
                <a:cxnLst/>
                <a:rect l="l" t="t" r="r" b="b"/>
                <a:pathLst>
                  <a:path w="1121206" h="1577145">
                    <a:moveTo>
                      <a:pt x="0" y="0"/>
                    </a:moveTo>
                    <a:lnTo>
                      <a:pt x="1121206" y="0"/>
                    </a:lnTo>
                    <a:lnTo>
                      <a:pt x="1121206" y="1577144"/>
                    </a:lnTo>
                    <a:lnTo>
                      <a:pt x="0" y="1577144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" name="TextBox 10"/>
              <p:cNvSpPr txBox="1"/>
              <p:nvPr/>
            </p:nvSpPr>
            <p:spPr>
              <a:xfrm>
                <a:off x="2022478" y="1161876"/>
                <a:ext cx="3511545" cy="507062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ctr">
                  <a:spcBef>
                    <a:spcPct val="0"/>
                  </a:spcBef>
                </a:pPr>
                <a:r>
                  <a:rPr lang="en-US" sz="3295" u="none" strike="noStrike" spc="39" dirty="0">
                    <a:solidFill>
                      <a:srgbClr val="FA5F86"/>
                    </a:solidFill>
                    <a:latin typeface="Fredoka SemiBold" pitchFamily="2" charset="-79"/>
                    <a:cs typeface="Fredoka SemiBold" pitchFamily="2" charset="-79"/>
                  </a:rPr>
                  <a:t>BABY SHOWER</a:t>
                </a:r>
              </a:p>
            </p:txBody>
          </p:sp>
          <p:sp>
            <p:nvSpPr>
              <p:cNvPr id="13" name="TextBox 13"/>
              <p:cNvSpPr txBox="1"/>
              <p:nvPr/>
            </p:nvSpPr>
            <p:spPr>
              <a:xfrm>
                <a:off x="2625487" y="1585371"/>
                <a:ext cx="2305526" cy="507062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ctr">
                  <a:spcBef>
                    <a:spcPct val="0"/>
                  </a:spcBef>
                </a:pPr>
                <a:r>
                  <a:rPr lang="en-US" sz="3295" u="none" strike="noStrike" spc="39" dirty="0">
                    <a:solidFill>
                      <a:srgbClr val="7AAEED"/>
                    </a:solidFill>
                    <a:latin typeface="Fredoka SemiBold" pitchFamily="2" charset="-79"/>
                    <a:cs typeface="Fredoka SemiBold" pitchFamily="2" charset="-79"/>
                  </a:rPr>
                  <a:t>POTLUCK</a:t>
                </a:r>
              </a:p>
            </p:txBody>
          </p:sp>
          <p:sp>
            <p:nvSpPr>
              <p:cNvPr id="14" name="TextBox 14"/>
              <p:cNvSpPr txBox="1"/>
              <p:nvPr/>
            </p:nvSpPr>
            <p:spPr>
              <a:xfrm>
                <a:off x="3290602" y="928050"/>
                <a:ext cx="975297" cy="152734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lnSpc>
                    <a:spcPts val="1261"/>
                  </a:lnSpc>
                  <a:spcBef>
                    <a:spcPct val="0"/>
                  </a:spcBef>
                </a:pPr>
                <a:r>
                  <a:rPr lang="en-US" sz="900" dirty="0">
                    <a:solidFill>
                      <a:srgbClr val="000000">
                        <a:alpha val="62745"/>
                      </a:srgbClr>
                    </a:solidFill>
                    <a:latin typeface="Quicksand SemiBold" pitchFamily="2" charset="0"/>
                  </a:rPr>
                  <a:t>SIGN UP SHEET</a:t>
                </a:r>
              </a:p>
            </p:txBody>
          </p:sp>
        </p:grpSp>
        <p:sp>
          <p:nvSpPr>
            <p:cNvPr id="76" name="QuickSignup"/>
            <p:cNvSpPr/>
            <p:nvPr/>
          </p:nvSpPr>
          <p:spPr>
            <a:xfrm>
              <a:off x="3449549" y="10353429"/>
              <a:ext cx="660903" cy="133213"/>
            </a:xfrm>
            <a:custGeom>
              <a:avLst/>
              <a:gdLst/>
              <a:ahLst/>
              <a:cxnLst/>
              <a:rect l="l" t="t" r="r" b="b"/>
              <a:pathLst>
                <a:path w="660903" h="133213">
                  <a:moveTo>
                    <a:pt x="0" y="0"/>
                  </a:moveTo>
                  <a:lnTo>
                    <a:pt x="660902" y="0"/>
                  </a:lnTo>
                  <a:lnTo>
                    <a:pt x="660902" y="133213"/>
                  </a:lnTo>
                  <a:lnTo>
                    <a:pt x="0" y="133213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9">
                <a:alphaModFix amt="70000"/>
                <a:extLs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a:blipFill>
            <a:ln cap="sq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</p:grpSp>
    </p:spTree>
    <p:custDataLst>
      <p:tags r:id="rId1"/>
    </p:custData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62</TotalTime>
  <Words>10</Words>
  <Application>Microsoft Office PowerPoint</Application>
  <PresentationFormat>Custom</PresentationFormat>
  <Paragraphs>6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Quicksand SemiBold</vt:lpstr>
      <vt:lpstr>Calibri</vt:lpstr>
      <vt:lpstr>Arial</vt:lpstr>
      <vt:lpstr>Fredoka Medium</vt:lpstr>
      <vt:lpstr>Fredoka SemiBold</vt:lpstr>
      <vt:lpstr>Office Them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ICK (Portrait)</dc:title>
  <dc:creator>Hoang Anh</dc:creator>
  <cp:lastModifiedBy>Anh Hoang</cp:lastModifiedBy>
  <cp:revision>45</cp:revision>
  <dcterms:created xsi:type="dcterms:W3CDTF">2006-08-16T00:00:00Z</dcterms:created>
  <dcterms:modified xsi:type="dcterms:W3CDTF">2024-06-21T10:28:10Z</dcterms:modified>
  <dc:identifier>DAGIuti-Arg</dc:identifier>
</cp:coreProperties>
</file>